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95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BD-41CD-8883-8ABF92A9B70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ABD-41CD-8883-8ABF92A9B70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ABD-41CD-8883-8ABF92A9B7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224304"/>
        <c:axId val="444227664"/>
      </c:barChart>
      <c:catAx>
        <c:axId val="444224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31-4396-80CC-000BDD8A076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31-4396-80CC-000BDD8A076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631-4396-80CC-000BDD8A07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224304"/>
        <c:axId val="444227664"/>
      </c:barChart>
      <c:catAx>
        <c:axId val="444224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C7F8D3-43D6-0789-DF1E-87ACE8595D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6BE29E8-5E72-F9B3-916F-5AC7AE4C4D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BE29E8-5E72-F9B3-916F-5AC7AE4C4D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969DD719-7EC4-9899-D41C-5B0F4C0E9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2-100% Stacked Bar Charts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6BC3962-D10C-CED6-E5BF-12A00F53E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62806C07-175D-8205-942E-A0D8AA57A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B6D53143-7D9F-493F-944C-8D864887830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59C27E24-F6B3-3E15-A696-D559B9745F0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Placeholder 12">
            <a:extLst>
              <a:ext uri="{FF2B5EF4-FFF2-40B4-BE49-F238E27FC236}">
                <a16:creationId xmlns:a16="http://schemas.microsoft.com/office/drawing/2014/main" id="{F80A9481-EF0D-F926-D7D4-1B73F1E224F0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" name="Chart Placeholder 12">
            <a:extLst>
              <a:ext uri="{FF2B5EF4-FFF2-40B4-BE49-F238E27FC236}">
                <a16:creationId xmlns:a16="http://schemas.microsoft.com/office/drawing/2014/main" id="{EA11CB46-208E-741F-58DD-C8636889AAF8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7733965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6</TotalTime>
  <Words>23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2-100% Stacked Bar Char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23</cp:revision>
  <dcterms:created xsi:type="dcterms:W3CDTF">2025-07-09T10:57:17Z</dcterms:created>
  <dcterms:modified xsi:type="dcterms:W3CDTF">2025-10-22T10:00:56Z</dcterms:modified>
  <cp:category/>
</cp:coreProperties>
</file>